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152" y="-3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231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691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710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831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58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40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52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427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233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492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74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106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5B7F8-3E7A-4B88-95C8-1111BEEF5CF4}" type="datetimeFigureOut">
              <a:rPr lang="en-US" smtClean="0"/>
              <a:t>10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7DAA0B-47AB-4EE5-839B-11BD39053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2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sjournal.info/uipath.html" TargetMode="External"/><Relationship Id="rId2" Type="http://schemas.openxmlformats.org/officeDocument/2006/relationships/hyperlink" Target="http://www.csjournal.info/ip-soft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sjournal.info/assistedge.html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5" Type="http://schemas.openxmlformats.org/officeDocument/2006/relationships/hyperlink" Target="http://talking.im/" TargetMode="External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talking.in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hyperlink" Target="mailto:Talk@Talking.im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gita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7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Player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8665512"/>
              </p:ext>
            </p:extLst>
          </p:nvPr>
        </p:nvGraphicFramePr>
        <p:xfrm>
          <a:off x="457200" y="1600200"/>
          <a:ext cx="8229600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7000"/>
                <a:gridCol w="914400"/>
                <a:gridCol w="1981200"/>
                <a:gridCol w="1021080"/>
                <a:gridCol w="164592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ank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gnitive Rank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y-invenio.c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ntellilink.c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blueprism.c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utomationanywhere.c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edwood.c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>
                          <a:hlinkClick r:id="rId2"/>
                        </a:rPr>
                        <a:t>Ipsoft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>
                          <a:hlinkClick r:id="rId3"/>
                        </a:rPr>
                        <a:t>UiPath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$1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hlinkClick r:id="rId4"/>
                        </a:rPr>
                        <a:t>Infosys - </a:t>
                      </a:r>
                      <a:r>
                        <a:rPr lang="en-US" dirty="0" err="1" smtClean="0">
                          <a:hlinkClick r:id="rId4"/>
                        </a:rPr>
                        <a:t>AssistEdge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HCL Tosc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alk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533400" y="6324600"/>
            <a:ext cx="4191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smtClean="0"/>
              <a:t>* Market  Cap As of 12 October 2016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999517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Ideation Playground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1059002"/>
              </p:ext>
            </p:extLst>
          </p:nvPr>
        </p:nvGraphicFramePr>
        <p:xfrm>
          <a:off x="457200" y="1600200"/>
          <a:ext cx="8229600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/>
                <a:gridCol w="701040"/>
                <a:gridCol w="1645920"/>
                <a:gridCol w="1645920"/>
                <a:gridCol w="164592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pr.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irpanetwork.com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5878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243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3" name="Picture 11" descr="\\UBSPROD.MSAD.UBS.NET\UserData\SINGPRAZ\Home\Pictures\lineblu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1059" y="4602163"/>
            <a:ext cx="12077700" cy="316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64" y="6172200"/>
            <a:ext cx="4953000" cy="471153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Talking connects Everything</a:t>
            </a:r>
            <a:endParaRPr lang="en-US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pic>
        <p:nvPicPr>
          <p:cNvPr id="3074" name="Picture 2" descr="\\UBSPROD.MSAD.UBS.NET\UserData\SINGPRAZ\Home\Pictures\t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4" y="304799"/>
            <a:ext cx="733425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c 3"/>
          <p:cNvSpPr/>
          <p:nvPr/>
        </p:nvSpPr>
        <p:spPr>
          <a:xfrm>
            <a:off x="-381000" y="-323850"/>
            <a:ext cx="2590800" cy="2667000"/>
          </a:xfrm>
          <a:prstGeom prst="arc">
            <a:avLst>
              <a:gd name="adj1" fmla="val 18471265"/>
              <a:gd name="adj2" fmla="val 8128752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38200" y="211693"/>
            <a:ext cx="77296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Cognitive</a:t>
            </a:r>
            <a:endParaRPr lang="en-US" sz="11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47740" y="486362"/>
            <a:ext cx="10086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Human Talk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95535" y="774247"/>
            <a:ext cx="8034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Automate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24684" y="918963"/>
            <a:ext cx="10935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Autonomation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5693" y="1179048"/>
            <a:ext cx="15536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Connect to other bots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2956" y="1456047"/>
            <a:ext cx="13260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Windows Objects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09506" y="1767921"/>
            <a:ext cx="13324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Learn &amp; Replicate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366233" y="1456046"/>
            <a:ext cx="7873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Supervise</a:t>
            </a:r>
            <a:endParaRPr lang="en-US" sz="12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318253" y="158684"/>
            <a:ext cx="2529538" cy="2418930"/>
            <a:chOff x="6386090" y="2063588"/>
            <a:chExt cx="2529538" cy="2418930"/>
          </a:xfrm>
        </p:grpSpPr>
        <p:pic>
          <p:nvPicPr>
            <p:cNvPr id="3075" name="Picture 3" descr="C:\Users\singpraz\AppData\Local\Microsoft\Windows\Temporary Internet Files\Content.IE5\ZJRI30UN\boy-smiling-happy-face-14076-large[1]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8347" y="2063588"/>
              <a:ext cx="609600" cy="645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6090" y="2971800"/>
              <a:ext cx="2373735" cy="653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3" descr="C:\Users\singpraz\AppData\Local\Microsoft\Windows\Temporary Internet Files\Content.IE5\ZJRI30UN\boy-smiling-happy-face-14076-large[1]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376" y="3824076"/>
              <a:ext cx="609600" cy="645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3" descr="C:\Users\singpraz\AppData\Local\Microsoft\Windows\Temporary Internet Files\Content.IE5\ZJRI30UN\boy-smiling-happy-face-14076-large[1]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6028" y="3684958"/>
              <a:ext cx="609600" cy="645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\\UBSPROD.MSAD.UBS.NET\UserData\SINGPRAZ\Home\Pictures\tlogo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957" y="2386168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\\UBSPROD.MSAD.UBS.NET\UserData\SINGPRAZ\Home\Pictures\tlogo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8976" y="4083067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\\UBSPROD.MSAD.UBS.NET\UserData\SINGPRAZ\Home\Pictures\tlogo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3628" y="4177718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Donut 13"/>
            <p:cNvSpPr/>
            <p:nvPr/>
          </p:nvSpPr>
          <p:spPr>
            <a:xfrm>
              <a:off x="6977935" y="2633219"/>
              <a:ext cx="1494843" cy="1544499"/>
            </a:xfrm>
            <a:prstGeom prst="donut">
              <a:avLst/>
            </a:prstGeom>
            <a:solidFill>
              <a:srgbClr val="FFC000">
                <a:alpha val="7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8" name="Arc 27"/>
          <p:cNvSpPr/>
          <p:nvPr/>
        </p:nvSpPr>
        <p:spPr>
          <a:xfrm>
            <a:off x="-152399" y="-439272"/>
            <a:ext cx="5204534" cy="4554071"/>
          </a:xfrm>
          <a:prstGeom prst="arc">
            <a:avLst>
              <a:gd name="adj1" fmla="val 18471265"/>
              <a:gd name="adj2" fmla="val 9923528"/>
            </a:avLst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702640" y="2746959"/>
            <a:ext cx="33602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Workflows are basic functional block.</a:t>
            </a:r>
            <a:endParaRPr lang="en-US" sz="1600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10841" y="3200400"/>
            <a:ext cx="718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Flexible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864192" y="3200400"/>
            <a:ext cx="7553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Evolving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840510" y="3200399"/>
            <a:ext cx="8338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Dynamics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649323" y="3564485"/>
            <a:ext cx="17860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Continuous Automation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808" y="211693"/>
            <a:ext cx="681963" cy="652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016" y="1110507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2425214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886" y="3477399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561" y="4501765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879" y="5013183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089" y="4800600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104" y="3526360"/>
            <a:ext cx="658764" cy="630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Arc 41"/>
          <p:cNvSpPr/>
          <p:nvPr/>
        </p:nvSpPr>
        <p:spPr>
          <a:xfrm>
            <a:off x="-416173" y="-1066800"/>
            <a:ext cx="6893173" cy="7092534"/>
          </a:xfrm>
          <a:prstGeom prst="arc">
            <a:avLst>
              <a:gd name="adj1" fmla="val 18746384"/>
              <a:gd name="adj2" fmla="val 9264709"/>
            </a:avLst>
          </a:prstGeom>
          <a:ln w="889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2137380" y="4363265"/>
            <a:ext cx="20922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Demand Driven Connections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547381" y="3976299"/>
            <a:ext cx="13644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Pattern Discovery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400285" y="3477397"/>
            <a:ext cx="4667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Fast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875808" y="2899321"/>
            <a:ext cx="6623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Robust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33" y="4186029"/>
            <a:ext cx="949574" cy="90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 descr="C:\Users\singpraz\AppData\Local\Microsoft\Windows\Temporary Internet Files\Content.IE5\ZJRI30UN\Mobile-Devices-e1365805671852[1]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738" y="1561776"/>
            <a:ext cx="1493367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/>
        </p:nvCxnSpPr>
        <p:spPr>
          <a:xfrm>
            <a:off x="5791200" y="4640264"/>
            <a:ext cx="33528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080" name="Picture 8" descr="C:\Users\singpraz\AppData\Local\Microsoft\Windows\Temporary Internet Files\Content.IE5\W6UE41MF\mono-bank[1]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921" y="2916236"/>
            <a:ext cx="1143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singpraz\AppData\Local\Microsoft\Windows\Temporary Internet Files\Content.IE5\W6UE41MF\boneco_clientes_googlegallery[1]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977" y="214254"/>
            <a:ext cx="1062037" cy="106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C:\Users\singpraz\AppData\Local\Microsoft\Windows\Temporary Internet Files\Content.IE5\DN9KO4W0\139304111220449683127644[1]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789" y="5254834"/>
            <a:ext cx="2335211" cy="162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Rectangle 53"/>
          <p:cNvSpPr/>
          <p:nvPr/>
        </p:nvSpPr>
        <p:spPr>
          <a:xfrm>
            <a:off x="6099332" y="4800600"/>
            <a:ext cx="29754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Visit </a:t>
            </a:r>
            <a:r>
              <a:rPr lang="en-US" sz="1600" b="1" dirty="0" smtClean="0">
                <a:latin typeface="Californian FB" panose="0207040306080B030204" pitchFamily="18" charset="0"/>
                <a:cs typeface="Traditional Arabic" panose="02020603050405020304" pitchFamily="18" charset="-78"/>
                <a:hlinkClick r:id="rId15"/>
              </a:rPr>
              <a:t>http://Talking.im</a:t>
            </a:r>
            <a:r>
              <a:rPr lang="en-US" sz="16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 for more</a:t>
            </a:r>
            <a:endParaRPr lang="en-US" sz="16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418914" y="2422813"/>
            <a:ext cx="1104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Staff assistant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001841" y="2490375"/>
            <a:ext cx="7553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chatbots</a:t>
            </a:r>
            <a:endParaRPr lang="en-US" sz="1200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55752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6" t="1765" r="14500" b="11575"/>
          <a:stretch/>
        </p:blipFill>
        <p:spPr bwMode="auto">
          <a:xfrm>
            <a:off x="-609599" y="-469900"/>
            <a:ext cx="91059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0475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368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" descr="\\UBSPROD.MSAD.UBS.NET\UserData\SINGPRAZ\Home\Pictures\lineblu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950" y="5187502"/>
            <a:ext cx="9231950" cy="241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33400"/>
          </a:xfrm>
        </p:spPr>
        <p:txBody>
          <a:bodyPr/>
          <a:lstStyle/>
          <a:p>
            <a:r>
              <a:rPr lang="en-US" dirty="0" smtClean="0"/>
              <a:t>Robotics Feasibility Assessment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362200"/>
            <a:ext cx="8787560" cy="3729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381000" y="1143000"/>
            <a:ext cx="58031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Download Self Assessment Spreadsheet </a:t>
            </a:r>
            <a:r>
              <a:rPr lang="en-US" b="1" dirty="0" smtClean="0">
                <a:latin typeface="Californian FB" panose="0207040306080B030204" pitchFamily="18" charset="0"/>
                <a:cs typeface="Traditional Arabic" panose="02020603050405020304" pitchFamily="18" charset="-78"/>
                <a:hlinkClick r:id="rId8"/>
              </a:rPr>
              <a:t>http://Talking.in</a:t>
            </a:r>
            <a:endParaRPr lang="en-US" b="1" dirty="0" smtClean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  <a:p>
            <a:pPr>
              <a:defRPr/>
            </a:pPr>
            <a:r>
              <a:rPr lang="en-US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Send your questions </a:t>
            </a:r>
            <a:r>
              <a:rPr lang="en-US" b="1" dirty="0" smtClean="0">
                <a:latin typeface="Californian FB" panose="0207040306080B030204" pitchFamily="18" charset="0"/>
                <a:cs typeface="Traditional Arabic" panose="02020603050405020304" pitchFamily="18" charset="-78"/>
                <a:hlinkClick r:id="rId9"/>
              </a:rPr>
              <a:t>Talk@Talking.im</a:t>
            </a:r>
            <a:r>
              <a:rPr lang="en-US" b="1" dirty="0" smtClean="0">
                <a:latin typeface="Californian FB" panose="0207040306080B030204" pitchFamily="18" charset="0"/>
                <a:cs typeface="Traditional Arabic" panose="02020603050405020304" pitchFamily="18" charset="-78"/>
              </a:rPr>
              <a:t> </a:t>
            </a:r>
            <a:endParaRPr lang="en-US" b="1" dirty="0">
              <a:latin typeface="Californian FB" panose="0207040306080B030204" pitchFamily="18" charset="0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26158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" r="1840" b="7949"/>
          <a:stretch/>
        </p:blipFill>
        <p:spPr bwMode="auto">
          <a:xfrm>
            <a:off x="38100" y="0"/>
            <a:ext cx="8839201" cy="700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7282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61</TotalTime>
  <Words>106</Words>
  <Application>Microsoft Office PowerPoint</Application>
  <PresentationFormat>On-screen Show (4:3)</PresentationFormat>
  <Paragraphs>55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Digital</vt:lpstr>
      <vt:lpstr>Current Players</vt:lpstr>
      <vt:lpstr>New Ideation Playgrounds</vt:lpstr>
      <vt:lpstr>PowerPoint Presentation</vt:lpstr>
      <vt:lpstr>PowerPoint Presentation</vt:lpstr>
      <vt:lpstr>Robotics Feasibility Assessment</vt:lpstr>
      <vt:lpstr>PowerPoint Presentation</vt:lpstr>
    </vt:vector>
  </TitlesOfParts>
  <Company>UB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</dc:title>
  <dc:creator>Singh, Prabhat-Kumar</dc:creator>
  <cp:lastModifiedBy>Singh, Prabhat-Kumar</cp:lastModifiedBy>
  <cp:revision>13</cp:revision>
  <dcterms:created xsi:type="dcterms:W3CDTF">2016-10-12T04:26:26Z</dcterms:created>
  <dcterms:modified xsi:type="dcterms:W3CDTF">2016-10-14T07:2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370c0144-5e2d-46b2-841b-c5dd0d543c05</vt:lpwstr>
  </property>
</Properties>
</file>